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4"/>
  </p:notesMasterIdLst>
  <p:handoutMasterIdLst>
    <p:handoutMasterId r:id="rId15"/>
  </p:handoutMasterIdLst>
  <p:sldIdLst>
    <p:sldId id="1229" r:id="rId2"/>
    <p:sldId id="1322" r:id="rId3"/>
    <p:sldId id="1335" r:id="rId4"/>
    <p:sldId id="1337" r:id="rId5"/>
    <p:sldId id="1348" r:id="rId6"/>
    <p:sldId id="1333" r:id="rId7"/>
    <p:sldId id="1349" r:id="rId8"/>
    <p:sldId id="1347" r:id="rId9"/>
    <p:sldId id="1339" r:id="rId10"/>
    <p:sldId id="1343" r:id="rId11"/>
    <p:sldId id="1345" r:id="rId12"/>
    <p:sldId id="1342" r:id="rId13"/>
  </p:sldIdLst>
  <p:sldSz cx="9906000" cy="6858000" type="A4"/>
  <p:notesSz cx="6807200" cy="9906000"/>
  <p:custShowLst>
    <p:custShow name="Custom Show 1" id="0">
      <p:sldLst/>
    </p:custShow>
  </p:custShowLst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45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FF"/>
    <a:srgbClr val="000000"/>
    <a:srgbClr val="FFDA65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 varScale="1">
        <p:scale>
          <a:sx n="68" d="100"/>
          <a:sy n="68" d="100"/>
        </p:scale>
        <p:origin x="1668" y="7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  <p:guide orient="horz" pos="3120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4"/>
            <a:ext cx="2950262" cy="496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5351" y="4"/>
            <a:ext cx="2950262" cy="496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/1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07618"/>
            <a:ext cx="2950262" cy="496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5351" y="9407618"/>
            <a:ext cx="2950262" cy="496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4"/>
            <a:ext cx="2950262" cy="496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5351" y="4"/>
            <a:ext cx="2950262" cy="496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/1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46125"/>
            <a:ext cx="5360988" cy="3711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1199" y="4706975"/>
            <a:ext cx="5444806" cy="445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07618"/>
            <a:ext cx="2950262" cy="496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5351" y="9407618"/>
            <a:ext cx="2950262" cy="496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00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677656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28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The INPS actuarial forecasts and evaluations</a:t>
            </a:r>
            <a:endParaRPr lang="en-GB" sz="28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Angela Legini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algn="ctr"/>
            <a:endParaRPr lang="en-US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October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6th -30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364" y="188640"/>
            <a:ext cx="9066340" cy="576064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LONG TERM ACTUARIAL FORECASTS -</a:t>
            </a:r>
            <a:r>
              <a:rPr lang="en-US" sz="2400" dirty="0"/>
              <a:t> The actuarial model</a:t>
            </a:r>
            <a:endParaRPr lang="it-IT" sz="2400" i="1" dirty="0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536575" y="980728"/>
            <a:ext cx="8520881" cy="5145441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i="1" dirty="0"/>
              <a:t>Pension schemes are long-term societal commitments, many of which have to be honored by future generations.</a:t>
            </a:r>
          </a:p>
          <a:p>
            <a:pPr marL="0" indent="0">
              <a:buNone/>
            </a:pPr>
            <a:r>
              <a:rPr lang="en-US" dirty="0"/>
              <a:t>It is, therefore, necessary to have information on the benefits promised before they are actually paid. In particular, the actuary is involved in making assumptions about future events in order to define:</a:t>
            </a:r>
          </a:p>
          <a:p>
            <a:pPr marL="357188" indent="-357188">
              <a:tabLst>
                <a:tab pos="627063" algn="l"/>
              </a:tabLst>
            </a:pPr>
            <a:r>
              <a:rPr lang="en-US" dirty="0"/>
              <a:t>a) </a:t>
            </a:r>
            <a:r>
              <a:rPr lang="en-US" b="1" dirty="0"/>
              <a:t>when benefit payments are to be made </a:t>
            </a:r>
            <a:r>
              <a:rPr lang="en-US" dirty="0"/>
              <a:t>(demographic projections);</a:t>
            </a:r>
            <a:endParaRPr lang="it-IT" dirty="0"/>
          </a:p>
          <a:p>
            <a:r>
              <a:rPr lang="en-US" dirty="0"/>
              <a:t>b) </a:t>
            </a:r>
            <a:r>
              <a:rPr lang="en-US" b="1" dirty="0"/>
              <a:t>the level of benefits to be paid </a:t>
            </a:r>
            <a:r>
              <a:rPr lang="en-US" dirty="0"/>
              <a:t>(economic projections). </a:t>
            </a:r>
            <a:endParaRPr lang="it-IT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actuarial model is implemented through a set of mathematical formulae and algorithms, and created by using a set of inputs (data and assumptions) to produce a set of outputs.</a:t>
            </a:r>
            <a:endParaRPr lang="it-IT" dirty="0"/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344488" y="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32207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dirty="0">
                <a:solidFill>
                  <a:schemeClr val="tx2"/>
                </a:solidFill>
              </a:rPr>
              <a:t>LONG TERM ACTUARIAL FORECASTS -</a:t>
            </a:r>
            <a:r>
              <a:rPr lang="en-US" sz="2800" dirty="0"/>
              <a:t> C</a:t>
            </a:r>
            <a:r>
              <a:rPr lang="en-US" sz="2800" i="1" dirty="0"/>
              <a:t>hoice of methodology </a:t>
            </a:r>
            <a:endParaRPr lang="de-DE" sz="2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内容占位符 4"/>
          <p:cNvSpPr>
            <a:spLocks noGrp="1"/>
          </p:cNvSpPr>
          <p:nvPr>
            <p:ph sz="half" idx="1"/>
          </p:nvPr>
        </p:nvSpPr>
        <p:spPr>
          <a:xfrm>
            <a:off x="632520" y="1000109"/>
            <a:ext cx="8280920" cy="516519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i="1" dirty="0"/>
              <a:t>The exact nature of the required results and their level of disaggregation to be attained </a:t>
            </a:r>
            <a:r>
              <a:rPr lang="it-IT" sz="2400" i="1" dirty="0"/>
              <a:t>can   </a:t>
            </a:r>
            <a:r>
              <a:rPr lang="it-IT" sz="2400" i="1" dirty="0" err="1"/>
              <a:t>affect</a:t>
            </a:r>
            <a:r>
              <a:rPr lang="it-IT" sz="2400" i="1" dirty="0"/>
              <a:t> </a:t>
            </a:r>
            <a:r>
              <a:rPr lang="en-US" sz="2400" i="1" dirty="0"/>
              <a:t>the choice of the forecasting model: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400" b="1" dirty="0"/>
              <a:t>Average values </a:t>
            </a:r>
            <a:r>
              <a:rPr lang="en-US" sz="2400" dirty="0"/>
              <a:t>for aggregations</a:t>
            </a:r>
          </a:p>
          <a:p>
            <a:pPr marL="0" indent="0">
              <a:buNone/>
            </a:pPr>
            <a:endParaRPr lang="it-IT" sz="2400" dirty="0"/>
          </a:p>
          <a:p>
            <a:r>
              <a:rPr lang="en-US" sz="2400" b="1" dirty="0"/>
              <a:t>Stochastic simulation </a:t>
            </a:r>
            <a:r>
              <a:rPr lang="en-US" sz="2400" dirty="0"/>
              <a:t>or "</a:t>
            </a:r>
            <a:r>
              <a:rPr lang="en-US" sz="2400" dirty="0" err="1"/>
              <a:t>Montecarlo</a:t>
            </a:r>
            <a:r>
              <a:rPr lang="en-US" sz="2400" dirty="0"/>
              <a:t>" method: </a:t>
            </a:r>
          </a:p>
          <a:p>
            <a:pPr marL="0" indent="0">
              <a:buNone/>
            </a:pPr>
            <a:endParaRPr lang="it-IT" sz="800" dirty="0"/>
          </a:p>
          <a:p>
            <a:pPr marL="360000" indent="-1857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uses all available information at the individual level</a:t>
            </a:r>
          </a:p>
          <a:p>
            <a:pPr marL="360000" indent="-1857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the “history” of individuals is then followed on the basis of their characteristics</a:t>
            </a:r>
          </a:p>
          <a:p>
            <a:pPr marL="360000" indent="-1857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the “history” of each individual is replicated to ensure the stability of results </a:t>
            </a:r>
          </a:p>
          <a:p>
            <a:pPr marL="360000" indent="-185738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2400" dirty="0"/>
          </a:p>
          <a:p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36888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921004" cy="44512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0" lvl="1"/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idx="1"/>
          </p:nvPr>
        </p:nvSpPr>
        <p:spPr>
          <a:xfrm>
            <a:off x="416370" y="1340769"/>
            <a:ext cx="8994330" cy="4785398"/>
          </a:xfrm>
        </p:spPr>
        <p:txBody>
          <a:bodyPr>
            <a:normAutofit/>
          </a:bodyPr>
          <a:lstStyle/>
          <a:p>
            <a:pPr algn="ctr">
              <a:buNone/>
            </a:pPr>
            <a:endParaRPr lang="it-IT" dirty="0"/>
          </a:p>
          <a:p>
            <a:pPr algn="ctr">
              <a:buNone/>
            </a:pPr>
            <a:endParaRPr lang="it-IT" dirty="0"/>
          </a:p>
          <a:p>
            <a:pPr algn="ctr">
              <a:buNone/>
            </a:pPr>
            <a:r>
              <a:rPr lang="it-IT" sz="4400" dirty="0">
                <a:solidFill>
                  <a:srgbClr val="0000FF"/>
                </a:solidFill>
              </a:rPr>
              <a:t>Thanks!!!!</a:t>
            </a:r>
          </a:p>
          <a:p>
            <a:pPr algn="ctr">
              <a:buNone/>
            </a:pPr>
            <a:r>
              <a:rPr lang="zh-CN" altLang="de-DE" sz="4400" dirty="0">
                <a:solidFill>
                  <a:srgbClr val="0000FF"/>
                </a:solidFill>
              </a:rPr>
              <a:t>谢谢！</a:t>
            </a:r>
            <a:endParaRPr lang="it-IT" sz="44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3279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4" y="1124744"/>
            <a:ext cx="9200197" cy="670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4738" indent="-3556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b="1" dirty="0"/>
          </a:p>
          <a:p>
            <a:pPr marL="1074738" indent="-3556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3200" dirty="0">
                <a:latin typeface="Optane" pitchFamily="2" charset="0"/>
                <a:ea typeface="Verdana" pitchFamily="34" charset="0"/>
                <a:cs typeface="Verdana" pitchFamily="34" charset="0"/>
              </a:rPr>
              <a:t>SHORT - MEDIUM TERM ACTUARIAL FORECASTS</a:t>
            </a:r>
          </a:p>
          <a:p>
            <a:pPr marL="719138" algn="just">
              <a:buClr>
                <a:schemeClr val="tx2"/>
              </a:buClr>
              <a:buSzPct val="103000"/>
            </a:pPr>
            <a:endParaRPr lang="it-IT" sz="3200" dirty="0"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074738" indent="-3556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3200" dirty="0">
                <a:latin typeface="Optane" pitchFamily="2" charset="0"/>
                <a:ea typeface="Verdana" pitchFamily="34" charset="0"/>
                <a:cs typeface="Verdana" pitchFamily="34" charset="0"/>
              </a:rPr>
              <a:t>LONG TERM ACTUARIAL FORECASTS</a:t>
            </a:r>
          </a:p>
          <a:p>
            <a:pPr marL="1163637" algn="just">
              <a:buClr>
                <a:schemeClr val="tx2"/>
              </a:buClr>
              <a:buSzPct val="103000"/>
            </a:pPr>
            <a:endParaRPr lang="en-US" sz="2400" dirty="0"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530350" indent="-366713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FOR ESTIMATING THE COSTS OF </a:t>
            </a:r>
            <a:r>
              <a:rPr lang="it-IT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GOVERNEMENT </a:t>
            </a:r>
          </a:p>
          <a:p>
            <a:pPr marL="1163637" algn="just">
              <a:buClr>
                <a:schemeClr val="tx2"/>
              </a:buClr>
              <a:buSzPct val="103000"/>
            </a:pPr>
            <a:r>
              <a:rPr lang="it-IT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     AND PARLIAMENT </a:t>
            </a:r>
            <a:r>
              <a:rPr lang="en-US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REGULATORY CHANGES</a:t>
            </a:r>
            <a:r>
              <a:rPr lang="it-IT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marL="1530350" indent="-366713" algn="just">
              <a:buClr>
                <a:schemeClr val="tx2"/>
              </a:buClr>
              <a:buSzPct val="103000"/>
            </a:pPr>
            <a:r>
              <a:rPr lang="it-IT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     </a:t>
            </a:r>
            <a:endParaRPr lang="it-IT" sz="1400" dirty="0"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530350" indent="-366713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400" dirty="0">
                <a:latin typeface="Optane" pitchFamily="2" charset="0"/>
                <a:ea typeface="Verdana" pitchFamily="34" charset="0"/>
                <a:cs typeface="Verdana" pitchFamily="34" charset="0"/>
              </a:rPr>
              <a:t>TO VERIFY THE ACTUARIAL BALANCE OF PENSION FUNDS</a:t>
            </a:r>
          </a:p>
          <a:p>
            <a:pPr marL="719138" algn="just">
              <a:buClr>
                <a:schemeClr val="tx2"/>
              </a:buClr>
              <a:buSzPct val="103000"/>
            </a:pPr>
            <a:endParaRPr lang="it-IT" sz="3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3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84899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3200" dirty="0"/>
              <a:t>Index - The INPS actuarial forecasts system </a:t>
            </a:r>
            <a:endParaRPr lang="it-IT" sz="3200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20903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719138" indent="-719138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000" dirty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HORT - MEDIUM TERM ACTUARIAL FORECASTS  </a:t>
            </a:r>
            <a:r>
              <a:rPr lang="it-IT" dirty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- </a:t>
            </a:r>
            <a:r>
              <a:rPr lang="it-IT" sz="2000" dirty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The budget </a:t>
            </a:r>
            <a:r>
              <a:rPr lang="it-IT" sz="2000" dirty="0" err="1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cycle</a:t>
            </a:r>
            <a:r>
              <a:rPr lang="it-IT" sz="2000" dirty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 </a:t>
            </a:r>
          </a:p>
        </p:txBody>
      </p:sp>
      <p:sp>
        <p:nvSpPr>
          <p:cNvPr id="3" name="CasellaDiTesto 2"/>
          <p:cNvSpPr txBox="1"/>
          <p:nvPr/>
        </p:nvSpPr>
        <p:spPr>
          <a:xfrm>
            <a:off x="704528" y="1052736"/>
            <a:ext cx="8496944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en-US" altLang="it-IT" sz="2800" i="1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INPS manages many Funds for pensions and social assistance. The set of their balance sheets form the INPS budget.</a:t>
            </a:r>
          </a:p>
          <a:p>
            <a:pPr algn="just"/>
            <a:endParaRPr lang="en-US" altLang="it-IT" sz="2800" i="1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en-US" altLang="it-IT" sz="28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The budget cycle is:</a:t>
            </a:r>
          </a:p>
          <a:p>
            <a:pPr algn="just"/>
            <a:endParaRPr lang="en-US" altLang="it-IT" sz="2800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ü"/>
            </a:pPr>
            <a:r>
              <a:rPr lang="en-US" altLang="it-IT" sz="2800" b="1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THE BUDGET FORECAST</a:t>
            </a:r>
            <a:r>
              <a:rPr lang="en-US" altLang="it-IT" sz="28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: planning instrument</a:t>
            </a:r>
          </a:p>
          <a:p>
            <a:pPr marL="457200" indent="-457200" algn="just">
              <a:buFont typeface="Wingdings" panose="05000000000000000000" pitchFamily="2" charset="2"/>
              <a:buChar char="ü"/>
            </a:pPr>
            <a:endParaRPr lang="en-US" altLang="it-IT" sz="2800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ü"/>
            </a:pPr>
            <a:r>
              <a:rPr lang="en-US" altLang="it-IT" sz="2800" b="1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THE BUDGET FORECAST UPDATES</a:t>
            </a:r>
            <a:r>
              <a:rPr lang="en-US" altLang="it-IT" sz="28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: revised budget for better planning</a:t>
            </a:r>
          </a:p>
          <a:p>
            <a:pPr marL="457200" indent="-457200" algn="just">
              <a:buFont typeface="Wingdings" panose="05000000000000000000" pitchFamily="2" charset="2"/>
              <a:buChar char="ü"/>
            </a:pPr>
            <a:endParaRPr lang="en-US" altLang="it-IT" sz="2800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457200" indent="-457200" algn="just">
              <a:buFont typeface="Wingdings" panose="05000000000000000000" pitchFamily="2" charset="2"/>
              <a:buChar char="ü"/>
            </a:pPr>
            <a:r>
              <a:rPr lang="en-US" altLang="it-IT" sz="2800" b="1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THE FINAL BALANCE</a:t>
            </a:r>
            <a:r>
              <a:rPr lang="en-US" altLang="it-IT" sz="28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: results achieved</a:t>
            </a:r>
          </a:p>
          <a:p>
            <a:endParaRPr lang="it-IT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it-IT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endParaRPr lang="it-IT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it-IT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1744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137028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719138" indent="-719138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000" dirty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HORT - MEDIUM TERM ACTUARIAL FORECASTS </a:t>
            </a:r>
            <a:r>
              <a:rPr lang="it-IT" sz="2000" dirty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- The INPS budget  </a:t>
            </a:r>
          </a:p>
        </p:txBody>
      </p:sp>
      <p:sp>
        <p:nvSpPr>
          <p:cNvPr id="3" name="CasellaDiTesto 2"/>
          <p:cNvSpPr txBox="1"/>
          <p:nvPr/>
        </p:nvSpPr>
        <p:spPr>
          <a:xfrm>
            <a:off x="560512" y="1196752"/>
            <a:ext cx="9001000" cy="5401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The INPS accounting system is based on the asset held system with the double-entry method</a:t>
            </a:r>
            <a:r>
              <a:rPr lang="en-US" sz="28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endParaRPr lang="en-US" sz="2800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8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The INPS general budget of annual forecast and the budget for each fund have the following main components:</a:t>
            </a:r>
          </a:p>
          <a:p>
            <a:endParaRPr lang="en-US" sz="900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8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              •  </a:t>
            </a:r>
            <a:r>
              <a:rPr lang="en-US" sz="2800" b="1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BALANCE SHEET – PROFIT AND LOSS ACCOUNT</a:t>
            </a:r>
          </a:p>
          <a:p>
            <a:endParaRPr lang="en-US" sz="900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8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              •  </a:t>
            </a:r>
            <a:r>
              <a:rPr lang="en-US" sz="2800" b="1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FINANCIAL BUDGET</a:t>
            </a:r>
          </a:p>
          <a:p>
            <a:endParaRPr lang="en-US" sz="900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82775" lvl="3" indent="-266700">
              <a:buFont typeface="Wingdings" panose="05000000000000000000" pitchFamily="2" charset="2"/>
              <a:buChar char="Ø"/>
            </a:pPr>
            <a:r>
              <a:rPr lang="en-US" sz="28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ACCRUAL BASIS </a:t>
            </a:r>
          </a:p>
          <a:p>
            <a:pPr marL="1882775" lvl="3" indent="-266700">
              <a:buFont typeface="Wingdings" panose="05000000000000000000" pitchFamily="2" charset="2"/>
              <a:buChar char="Ø"/>
            </a:pPr>
            <a:r>
              <a:rPr lang="en-US" sz="28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CASH BASIS (accruals/deferrals) </a:t>
            </a:r>
          </a:p>
          <a:p>
            <a:endParaRPr lang="en-US" sz="2400" u="sng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it-IT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endParaRPr lang="it-IT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it-IT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1353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272480" y="793856"/>
            <a:ext cx="8712968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The INPS budget forecast and its frequency depends upon:</a:t>
            </a:r>
          </a:p>
          <a:p>
            <a:endParaRPr lang="en-US" sz="1000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6700" indent="-266700"/>
            <a:r>
              <a:rPr lang="en-US" sz="32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• LEGISLATIVE FRAMEWORK</a:t>
            </a:r>
          </a:p>
          <a:p>
            <a:pPr marL="266700" indent="-266700"/>
            <a:endParaRPr lang="en-US" sz="800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6700" indent="-266700">
              <a:buFont typeface="Arial" panose="020B0604020202020204" pitchFamily="34" charset="0"/>
              <a:buChar char="•"/>
            </a:pPr>
            <a:r>
              <a:rPr lang="en-US" sz="32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MACROECONOMIC FRAMEWORK - Document of Economics and Finance and related updates containing the main reference indicators: </a:t>
            </a:r>
          </a:p>
          <a:p>
            <a:pPr marL="1371600" lvl="2" indent="-457200">
              <a:buFont typeface="Wingdings" panose="05000000000000000000" pitchFamily="2" charset="2"/>
              <a:buChar char="ü"/>
            </a:pPr>
            <a:r>
              <a:rPr lang="en-US" sz="32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GDP, </a:t>
            </a:r>
          </a:p>
          <a:p>
            <a:pPr marL="1828800" lvl="3" indent="-457200">
              <a:buFont typeface="Wingdings" panose="05000000000000000000" pitchFamily="2" charset="2"/>
              <a:buChar char="ü"/>
            </a:pPr>
            <a:r>
              <a:rPr lang="en-US" sz="32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expected inflation, </a:t>
            </a:r>
          </a:p>
          <a:p>
            <a:pPr marL="2286000" lvl="4" indent="-457200">
              <a:buFont typeface="Wingdings" panose="05000000000000000000" pitchFamily="2" charset="2"/>
              <a:buChar char="ü"/>
            </a:pPr>
            <a:r>
              <a:rPr lang="en-US" sz="32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rate of employment, </a:t>
            </a:r>
          </a:p>
          <a:p>
            <a:pPr marL="2743200" lvl="5" indent="-457200">
              <a:buFont typeface="Wingdings" panose="05000000000000000000" pitchFamily="2" charset="2"/>
              <a:buChar char="ü"/>
            </a:pPr>
            <a:r>
              <a:rPr lang="en-US" sz="32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amount of wages and incomes, </a:t>
            </a:r>
          </a:p>
          <a:p>
            <a:pPr marL="3200400" lvl="6" indent="-457200">
              <a:buFont typeface="Wingdings" panose="05000000000000000000" pitchFamily="2" charset="2"/>
              <a:buChar char="ü"/>
            </a:pPr>
            <a:r>
              <a:rPr lang="en-US" sz="3200" dirty="0">
                <a:latin typeface="Optane"/>
                <a:ea typeface="Verdana" panose="020B0604030504040204" pitchFamily="34" charset="0"/>
                <a:cs typeface="Verdana" panose="020B0604030504040204" pitchFamily="34" charset="0"/>
              </a:rPr>
              <a:t>etc.</a:t>
            </a:r>
          </a:p>
          <a:p>
            <a:endParaRPr lang="en-US" sz="3200" dirty="0">
              <a:latin typeface="Optane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16496" y="116632"/>
            <a:ext cx="799301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719138" indent="-719138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000" dirty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HORT - MEDIUM TERM ACTUARIAL FORECASTS </a:t>
            </a:r>
            <a:r>
              <a:rPr lang="it-IT" sz="2000" dirty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- The </a:t>
            </a:r>
            <a:r>
              <a:rPr lang="it-IT" sz="2000" dirty="0" err="1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assumptions</a:t>
            </a:r>
            <a:endParaRPr lang="it-IT" sz="20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72108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524508" y="1101103"/>
            <a:ext cx="86409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i="1" dirty="0">
                <a:latin typeface="Optane"/>
              </a:rPr>
              <a:t>Probabilities for changing the state of the insured or pensioner</a:t>
            </a:r>
            <a:endParaRPr lang="it-IT" sz="2800" b="1" i="1" dirty="0">
              <a:latin typeface="Optane"/>
            </a:endParaRPr>
          </a:p>
        </p:txBody>
      </p:sp>
      <p:sp>
        <p:nvSpPr>
          <p:cNvPr id="8" name="Cilindro 7"/>
          <p:cNvSpPr/>
          <p:nvPr/>
        </p:nvSpPr>
        <p:spPr>
          <a:xfrm>
            <a:off x="3659900" y="1861837"/>
            <a:ext cx="1656184" cy="792088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/>
              <a:t>Insured</a:t>
            </a:r>
            <a:endParaRPr lang="it-IT" dirty="0"/>
          </a:p>
        </p:txBody>
      </p:sp>
      <p:sp>
        <p:nvSpPr>
          <p:cNvPr id="9" name="Rettangolo arrotondato 8"/>
          <p:cNvSpPr/>
          <p:nvPr/>
        </p:nvSpPr>
        <p:spPr>
          <a:xfrm>
            <a:off x="6681192" y="2636912"/>
            <a:ext cx="2088232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/>
              <a:t>Death of </a:t>
            </a:r>
            <a:r>
              <a:rPr lang="it-IT" sz="1600" dirty="0" err="1"/>
              <a:t>insured</a:t>
            </a:r>
            <a:endParaRPr lang="it-IT" sz="1600" dirty="0"/>
          </a:p>
          <a:p>
            <a:pPr algn="ctr"/>
            <a:r>
              <a:rPr lang="it-IT" sz="1600" dirty="0" err="1"/>
              <a:t>Survivor</a:t>
            </a:r>
            <a:r>
              <a:rPr lang="it-IT" sz="1600" dirty="0"/>
              <a:t> </a:t>
            </a:r>
          </a:p>
          <a:p>
            <a:pPr algn="ctr"/>
            <a:r>
              <a:rPr lang="it-IT" sz="1600" dirty="0"/>
              <a:t>(new </a:t>
            </a:r>
            <a:r>
              <a:rPr lang="it-IT" sz="1600" dirty="0" err="1"/>
              <a:t>pensioner</a:t>
            </a:r>
            <a:r>
              <a:rPr lang="it-IT" sz="1600" dirty="0"/>
              <a:t>)</a:t>
            </a:r>
          </a:p>
        </p:txBody>
      </p:sp>
      <p:sp>
        <p:nvSpPr>
          <p:cNvPr id="10" name="Ovale 9"/>
          <p:cNvSpPr/>
          <p:nvPr/>
        </p:nvSpPr>
        <p:spPr>
          <a:xfrm>
            <a:off x="2015309" y="3717032"/>
            <a:ext cx="2160240" cy="6480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/>
              <a:t>Old-age</a:t>
            </a:r>
            <a:r>
              <a:rPr lang="it-IT" dirty="0"/>
              <a:t> </a:t>
            </a:r>
            <a:r>
              <a:rPr lang="it-IT" dirty="0" err="1"/>
              <a:t>pension</a:t>
            </a:r>
            <a:endParaRPr lang="it-IT" dirty="0"/>
          </a:p>
        </p:txBody>
      </p:sp>
      <p:sp>
        <p:nvSpPr>
          <p:cNvPr id="13" name="Ovale 12"/>
          <p:cNvSpPr/>
          <p:nvPr/>
        </p:nvSpPr>
        <p:spPr>
          <a:xfrm>
            <a:off x="4989004" y="3800909"/>
            <a:ext cx="2160240" cy="6480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/>
              <a:t>Disability</a:t>
            </a:r>
            <a:r>
              <a:rPr lang="it-IT" dirty="0"/>
              <a:t> </a:t>
            </a:r>
            <a:r>
              <a:rPr lang="it-IT" dirty="0" err="1"/>
              <a:t>pension</a:t>
            </a:r>
            <a:endParaRPr lang="it-IT" dirty="0"/>
          </a:p>
        </p:txBody>
      </p:sp>
      <p:sp>
        <p:nvSpPr>
          <p:cNvPr id="11" name="Esagono 10"/>
          <p:cNvSpPr/>
          <p:nvPr/>
        </p:nvSpPr>
        <p:spPr>
          <a:xfrm>
            <a:off x="3440832" y="5010468"/>
            <a:ext cx="2376264" cy="1010819"/>
          </a:xfrm>
          <a:prstGeom prst="hexag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/>
              <a:t>Death of </a:t>
            </a:r>
            <a:r>
              <a:rPr lang="it-IT" sz="1600" dirty="0" err="1"/>
              <a:t>pensioner</a:t>
            </a:r>
            <a:r>
              <a:rPr lang="it-IT" sz="1600" dirty="0"/>
              <a:t> </a:t>
            </a:r>
          </a:p>
          <a:p>
            <a:pPr algn="ctr"/>
            <a:r>
              <a:rPr lang="it-IT" sz="1600" dirty="0" err="1"/>
              <a:t>Survivor</a:t>
            </a:r>
            <a:endParaRPr lang="it-IT" sz="1600" dirty="0"/>
          </a:p>
          <a:p>
            <a:pPr algn="ctr"/>
            <a:r>
              <a:rPr lang="it-IT" sz="1600" dirty="0"/>
              <a:t>(new </a:t>
            </a:r>
            <a:r>
              <a:rPr lang="it-IT" sz="1600" dirty="0" err="1"/>
              <a:t>pensioner</a:t>
            </a:r>
            <a:r>
              <a:rPr lang="it-IT" sz="1600" dirty="0"/>
              <a:t>)</a:t>
            </a:r>
          </a:p>
        </p:txBody>
      </p:sp>
      <p:cxnSp>
        <p:nvCxnSpPr>
          <p:cNvPr id="18" name="Connettore 7 17"/>
          <p:cNvCxnSpPr/>
          <p:nvPr/>
        </p:nvCxnSpPr>
        <p:spPr>
          <a:xfrm>
            <a:off x="5388224" y="2313614"/>
            <a:ext cx="1152128" cy="432048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7 21"/>
          <p:cNvCxnSpPr/>
          <p:nvPr/>
        </p:nvCxnSpPr>
        <p:spPr>
          <a:xfrm rot="16200000" flipH="1">
            <a:off x="5098604" y="2816083"/>
            <a:ext cx="936104" cy="795263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7 23"/>
          <p:cNvCxnSpPr/>
          <p:nvPr/>
        </p:nvCxnSpPr>
        <p:spPr>
          <a:xfrm rot="5400000">
            <a:off x="3058439" y="2794577"/>
            <a:ext cx="935363" cy="837537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7 27"/>
          <p:cNvCxnSpPr/>
          <p:nvPr/>
        </p:nvCxnSpPr>
        <p:spPr>
          <a:xfrm>
            <a:off x="2648744" y="4496832"/>
            <a:ext cx="739796" cy="720081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7 29"/>
          <p:cNvCxnSpPr/>
          <p:nvPr/>
        </p:nvCxnSpPr>
        <p:spPr>
          <a:xfrm rot="10800000" flipV="1">
            <a:off x="5892282" y="4581128"/>
            <a:ext cx="648070" cy="635784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reccia a destra 32"/>
          <p:cNvSpPr/>
          <p:nvPr/>
        </p:nvSpPr>
        <p:spPr>
          <a:xfrm>
            <a:off x="6969225" y="2976958"/>
            <a:ext cx="360039" cy="242762"/>
          </a:xfrm>
          <a:prstGeom prst="rightArrow">
            <a:avLst/>
          </a:prstGeom>
          <a:ln w="3175">
            <a:solidFill>
              <a:srgbClr val="FFFFFF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CasellaDiTesto 18"/>
          <p:cNvSpPr txBox="1"/>
          <p:nvPr/>
        </p:nvSpPr>
        <p:spPr>
          <a:xfrm>
            <a:off x="373019" y="107884"/>
            <a:ext cx="7704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2"/>
                </a:solidFill>
                <a:latin typeface="Optane"/>
                <a:ea typeface="Verdana" pitchFamily="34" charset="0"/>
                <a:cs typeface="Verdana" pitchFamily="34" charset="0"/>
              </a:rPr>
              <a:t>SHORT - MEDIUM TERM ACTUARIAL FORECASTS </a:t>
            </a:r>
            <a:r>
              <a:rPr lang="it-IT" sz="2400" b="1" dirty="0">
                <a:latin typeface="Optane"/>
                <a:ea typeface="Verdana" pitchFamily="34" charset="0"/>
                <a:cs typeface="Verdana" pitchFamily="34" charset="0"/>
              </a:rPr>
              <a:t>-</a:t>
            </a:r>
            <a:r>
              <a:rPr lang="it-IT" sz="2400" dirty="0">
                <a:latin typeface="Optane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>
                <a:latin typeface="Optane"/>
                <a:ea typeface="Verdana" pitchFamily="34" charset="0"/>
                <a:cs typeface="Verdana" pitchFamily="34" charset="0"/>
              </a:rPr>
              <a:t>The </a:t>
            </a:r>
            <a:r>
              <a:rPr lang="it-IT" sz="2400" b="1" dirty="0" err="1">
                <a:latin typeface="Optane"/>
                <a:ea typeface="Verdana" pitchFamily="34" charset="0"/>
                <a:cs typeface="Verdana" pitchFamily="34" charset="0"/>
              </a:rPr>
              <a:t>probabilities</a:t>
            </a:r>
            <a:endParaRPr lang="it-IT" sz="2400" b="1" dirty="0">
              <a:latin typeface="Optane"/>
            </a:endParaRPr>
          </a:p>
        </p:txBody>
      </p:sp>
      <p:sp>
        <p:nvSpPr>
          <p:cNvPr id="20" name="Freccia a destra 19"/>
          <p:cNvSpPr/>
          <p:nvPr/>
        </p:nvSpPr>
        <p:spPr>
          <a:xfrm>
            <a:off x="3865408" y="5394496"/>
            <a:ext cx="360039" cy="242762"/>
          </a:xfrm>
          <a:prstGeom prst="rightArrow">
            <a:avLst/>
          </a:prstGeom>
          <a:ln w="3175">
            <a:solidFill>
              <a:srgbClr val="FFFFFF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34844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8464" y="-171400"/>
            <a:ext cx="8183005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719138" indent="-719138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HORT - MEDIUM TERM ACTUARIAL FORECASTS </a:t>
            </a:r>
            <a:r>
              <a:rPr lang="it-IT" dirty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- The </a:t>
            </a:r>
            <a:r>
              <a:rPr lang="it-IT" dirty="0" err="1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methodology</a:t>
            </a:r>
            <a:endParaRPr lang="it-IT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asellaDiTesto 2"/>
              <p:cNvSpPr txBox="1"/>
              <p:nvPr/>
            </p:nvSpPr>
            <p:spPr>
              <a:xfrm>
                <a:off x="488504" y="1052736"/>
                <a:ext cx="8928992" cy="44217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endParaRPr lang="en-US" sz="2400" i="1" dirty="0">
                  <a:latin typeface="Optane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just"/>
                <a:r>
                  <a:rPr lang="en-US" sz="2400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The objective of the actuarial valuations is to estimate the contributions and expenditures which should cover every management year, as well as accruals and deferrals of each year-end. </a:t>
                </a:r>
              </a:p>
              <a:p>
                <a:pPr algn="just"/>
                <a:endParaRPr lang="it-IT" sz="800" dirty="0">
                  <a:solidFill>
                    <a:schemeClr val="tx2"/>
                  </a:solidFill>
                  <a:latin typeface="Optane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just"/>
                <a:endParaRPr lang="en-US" sz="1000" b="1" dirty="0">
                  <a:latin typeface="Optane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just"/>
                <a:endParaRPr lang="en-US" sz="1000" b="1" dirty="0">
                  <a:latin typeface="Optane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ctr"/>
                <a:r>
                  <a:rPr lang="it-IT" sz="4000" b="1" dirty="0" err="1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C</a:t>
                </a:r>
                <a:r>
                  <a:rPr lang="it-IT" sz="4000" b="1" baseline="-25000" dirty="0" err="1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t</a:t>
                </a:r>
                <a:r>
                  <a:rPr lang="it-IT" sz="4000" b="1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 = </a:t>
                </a:r>
                <a:r>
                  <a:rPr lang="it-IT" sz="4000" b="1" dirty="0" err="1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Z</a:t>
                </a:r>
                <a:r>
                  <a:rPr lang="it-IT" sz="4000" b="1" baseline="-25000" dirty="0" err="1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t</a:t>
                </a:r>
                <a:r>
                  <a:rPr lang="it-IT" sz="4000" b="1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:r>
                  <a:rPr lang="el-GR" sz="2800" dirty="0">
                    <a:latin typeface="Calibri"/>
                    <a:ea typeface="Verdana" panose="020B0604030504040204" pitchFamily="34" charset="0"/>
                    <a:cs typeface="Calibri"/>
                  </a:rPr>
                  <a:t>α</a:t>
                </a:r>
                <a:r>
                  <a:rPr lang="it-IT" sz="4000" b="1" baseline="-25000" dirty="0">
                    <a:latin typeface="Optane"/>
                    <a:ea typeface="Verdana" panose="020B0604030504040204" pitchFamily="34" charset="0"/>
                    <a:cs typeface="Calibri"/>
                  </a:rPr>
                  <a:t>t</a:t>
                </a:r>
              </a:p>
              <a:p>
                <a:pPr algn="ctr"/>
                <a:endParaRPr lang="it-IT" sz="800" b="1" dirty="0">
                  <a:latin typeface="Optane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ctr"/>
                <a:r>
                  <a:rPr lang="it-IT" sz="2400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 (</a:t>
                </a:r>
                <a:r>
                  <a:rPr lang="it-IT" sz="2400" i="1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T</a:t>
                </a:r>
                <a:r>
                  <a:rPr lang="en-US" sz="2400" i="1" dirty="0" err="1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otal</a:t>
                </a:r>
                <a:r>
                  <a:rPr lang="en-US" sz="2400" i="1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 contributions = Total earnings x Contribution rate </a:t>
                </a:r>
                <a:r>
                  <a:rPr lang="en-US" sz="2400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)</a:t>
                </a:r>
              </a:p>
              <a:p>
                <a:r>
                  <a:rPr lang="it-IT" sz="4000" b="1" i="1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                        </a:t>
                </a:r>
              </a:p>
              <a:p>
                <a:pPr algn="ctr"/>
                <a:r>
                  <a:rPr lang="it-IT" sz="4000" b="1" i="1" dirty="0" err="1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O</a:t>
                </a:r>
                <a:r>
                  <a:rPr lang="it-IT" sz="4000" b="1" i="1" baseline="-25000" dirty="0" err="1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t</a:t>
                </a:r>
                <a:r>
                  <a:rPr lang="it-IT" sz="4000" b="1" i="1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 = N</a:t>
                </a:r>
                <a:r>
                  <a:rPr lang="it-IT" sz="4000" b="1" i="1" baseline="-25000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t</a:t>
                </a:r>
                <a:r>
                  <a:rPr lang="it-IT" sz="4000" b="1" i="1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it-IT" sz="3200" b="1" i="1" dirty="0" smtClean="0">
                            <a:latin typeface="Cambria Math" panose="02040503050406030204" pitchFamily="18" charset="0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</m:ctrlPr>
                      </m:accPr>
                      <m:e>
                        <m:r>
                          <a:rPr lang="it-IT" sz="3200" b="0" i="1" dirty="0" smtClean="0">
                            <a:latin typeface="Cambria Math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m:t>𝑝</m:t>
                        </m:r>
                      </m:e>
                    </m:acc>
                  </m:oMath>
                </a14:m>
                <a:r>
                  <a:rPr lang="it-IT" sz="4000" b="1" i="1" baseline="-25000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t</a:t>
                </a:r>
              </a:p>
              <a:p>
                <a:pPr algn="ctr"/>
                <a:endParaRPr lang="it-IT" sz="800" b="1" i="1" baseline="-25000" dirty="0">
                  <a:latin typeface="Optane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ctr"/>
                <a:r>
                  <a:rPr lang="en-US" sz="2400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(</a:t>
                </a:r>
                <a:r>
                  <a:rPr lang="en-US" sz="2400" i="1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Total costs for pensions = Total number of pensions x Average amount of pensions</a:t>
                </a:r>
                <a:r>
                  <a:rPr lang="en-US" sz="2400" dirty="0">
                    <a:latin typeface="Optane"/>
                    <a:ea typeface="Verdana" panose="020B0604030504040204" pitchFamily="34" charset="0"/>
                    <a:cs typeface="Verdana" panose="020B0604030504040204" pitchFamily="34" charset="0"/>
                  </a:rPr>
                  <a:t>)</a:t>
                </a:r>
                <a:endParaRPr lang="it-IT" sz="2400" dirty="0">
                  <a:latin typeface="Optane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3" name="CasellaDiTesto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8504" y="1052736"/>
                <a:ext cx="8928992" cy="4421723"/>
              </a:xfrm>
              <a:prstGeom prst="rect">
                <a:avLst/>
              </a:prstGeom>
              <a:blipFill rotWithShape="1">
                <a:blip r:embed="rId3"/>
                <a:stretch>
                  <a:fillRect l="-1024" r="-1092" b="-2345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4648823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0" y="19828"/>
            <a:ext cx="9066340" cy="648090"/>
          </a:xfrm>
        </p:spPr>
        <p:txBody>
          <a:bodyPr>
            <a:normAutofit fontScale="90000"/>
          </a:bodyPr>
          <a:lstStyle/>
          <a:p>
            <a:br>
              <a:rPr lang="it-IT" sz="2400" dirty="0">
                <a:solidFill>
                  <a:schemeClr val="tx2"/>
                </a:solidFill>
              </a:rPr>
            </a:br>
            <a:r>
              <a:rPr lang="it-IT" sz="2400" dirty="0">
                <a:solidFill>
                  <a:schemeClr val="tx2"/>
                </a:solidFill>
              </a:rPr>
              <a:t>LONG TERM ACTUARIAL FORECASTS </a:t>
            </a:r>
            <a:r>
              <a:rPr lang="it-IT" sz="2400" dirty="0"/>
              <a:t>- G</a:t>
            </a:r>
            <a:r>
              <a:rPr lang="en-US" sz="2400" dirty="0" err="1"/>
              <a:t>uidelines</a:t>
            </a:r>
            <a:r>
              <a:rPr lang="en-US" sz="2400" dirty="0"/>
              <a:t> for regulatory changes</a:t>
            </a:r>
            <a:endParaRPr lang="it-IT" sz="2400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9073134" cy="5145506"/>
          </a:xfrm>
        </p:spPr>
        <p:txBody>
          <a:bodyPr>
            <a:normAutofit fontScale="92500" lnSpcReduction="20000"/>
          </a:bodyPr>
          <a:lstStyle/>
          <a:p>
            <a:pPr marL="0" indent="177800">
              <a:buNone/>
            </a:pPr>
            <a:r>
              <a:rPr lang="en-US" sz="2400" i="1" dirty="0"/>
              <a:t> Each law involving financial consequences must be accompanied by a</a:t>
            </a:r>
          </a:p>
          <a:p>
            <a:pPr marL="0" indent="355600">
              <a:buNone/>
            </a:pPr>
            <a:r>
              <a:rPr lang="en-US" b="1" i="1" dirty="0"/>
              <a:t>TECHNICAL REPORT </a:t>
            </a:r>
          </a:p>
          <a:p>
            <a:pPr marL="0" indent="2601913">
              <a:buNone/>
            </a:pPr>
            <a:endParaRPr lang="en-US" sz="900" b="1" i="1" dirty="0"/>
          </a:p>
          <a:p>
            <a:pPr marL="719138" indent="-177800"/>
            <a:r>
              <a:rPr lang="en-US" sz="2400" dirty="0"/>
              <a:t>Prepared by the competent authority (e.g. INPS for pensions, employment, etc.)</a:t>
            </a:r>
          </a:p>
          <a:p>
            <a:pPr marL="719138" indent="-177800"/>
            <a:r>
              <a:rPr lang="en-US" sz="2400" dirty="0"/>
              <a:t>Verified by the Ministry of Economy and Finance</a:t>
            </a:r>
          </a:p>
          <a:p>
            <a:pPr marL="985838" indent="-177800"/>
            <a:r>
              <a:rPr lang="en-US" sz="2400" dirty="0"/>
              <a:t>It contains:</a:t>
            </a:r>
          </a:p>
          <a:p>
            <a:pPr marL="1252538" indent="-266700">
              <a:buFont typeface="Wingdings" panose="05000000000000000000" pitchFamily="2" charset="2"/>
              <a:buChar char="Ø"/>
            </a:pPr>
            <a:r>
              <a:rPr lang="en-US" sz="2400" dirty="0"/>
              <a:t>the </a:t>
            </a:r>
            <a:r>
              <a:rPr lang="en-US" sz="2400" b="1" dirty="0"/>
              <a:t>ten-year planned expenditure </a:t>
            </a:r>
            <a:r>
              <a:rPr lang="en-US" sz="2400" dirty="0"/>
              <a:t>prepared with prudential criteria (the amount authorized is the maximum spending limit)</a:t>
            </a:r>
          </a:p>
          <a:p>
            <a:pPr marL="1252538" indent="-266700">
              <a:buFont typeface="Wingdings" panose="05000000000000000000" pitchFamily="2" charset="2"/>
              <a:buChar char="Ø"/>
            </a:pPr>
            <a:r>
              <a:rPr lang="en-US" sz="2400" dirty="0"/>
              <a:t>the number of beneficiaries, the amount of the individual and overall benefits</a:t>
            </a:r>
          </a:p>
          <a:p>
            <a:pPr marL="1252538" indent="-266700">
              <a:buFont typeface="Wingdings" panose="05000000000000000000" pitchFamily="2" charset="2"/>
              <a:buChar char="Ø"/>
            </a:pPr>
            <a:r>
              <a:rPr lang="en-US" sz="2400" dirty="0"/>
              <a:t>the description of the process used to calculate the direct and indirect financial effects</a:t>
            </a:r>
          </a:p>
          <a:p>
            <a:pPr marL="1252538" indent="-266700">
              <a:buFont typeface="Wingdings" panose="05000000000000000000" pitchFamily="2" charset="2"/>
              <a:buChar char="Ø"/>
            </a:pPr>
            <a:r>
              <a:rPr lang="en-US" sz="2400" dirty="0"/>
              <a:t>the methodology and the calculation in order to reconstruct and verify the "mathematical logic" steps that led to the definition of the burden</a:t>
            </a:r>
          </a:p>
          <a:p>
            <a:pPr marL="1438275" indent="-185738">
              <a:buFont typeface="Wingdings" panose="05000000000000000000" pitchFamily="2" charset="2"/>
              <a:buChar char="Ø"/>
            </a:pPr>
            <a:endParaRPr lang="en-US" sz="2400" b="1" i="1" dirty="0"/>
          </a:p>
          <a:p>
            <a:pPr marL="985838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715035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72356" y="-146585"/>
            <a:ext cx="7921004" cy="66114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endParaRPr lang="it-IT" sz="1800" dirty="0">
              <a:solidFill>
                <a:schemeClr val="tx2"/>
              </a:solidFill>
            </a:endParaRPr>
          </a:p>
          <a:p>
            <a:r>
              <a:rPr lang="it-IT" dirty="0">
                <a:solidFill>
                  <a:schemeClr val="tx2"/>
                </a:solidFill>
              </a:rPr>
              <a:t>LONG TERM ACTUARIAL FORECASTS -</a:t>
            </a:r>
            <a:r>
              <a:rPr lang="it-IT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Criteria for the multi-annual budget</a:t>
            </a:r>
            <a:endParaRPr lang="en-US" altLang="it-IT" dirty="0">
              <a:solidFill>
                <a:schemeClr val="tx1"/>
              </a:solidFill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1621146" y="1484784"/>
            <a:ext cx="2736304" cy="93288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</a:rPr>
              <a:t>VALUATION PERIOD</a:t>
            </a:r>
          </a:p>
        </p:txBody>
      </p:sp>
      <p:sp>
        <p:nvSpPr>
          <p:cNvPr id="10" name="Rettangolo 9"/>
          <p:cNvSpPr/>
          <p:nvPr/>
        </p:nvSpPr>
        <p:spPr>
          <a:xfrm>
            <a:off x="5115020" y="4293096"/>
            <a:ext cx="2736304" cy="4320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PRUDENTIAL CRITERIA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5115020" y="4980215"/>
            <a:ext cx="2736304" cy="4320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INTERNAL COHERENCE</a:t>
            </a:r>
          </a:p>
        </p:txBody>
      </p:sp>
      <p:sp>
        <p:nvSpPr>
          <p:cNvPr id="12" name="Rettangolo 11"/>
          <p:cNvSpPr/>
          <p:nvPr/>
        </p:nvSpPr>
        <p:spPr>
          <a:xfrm>
            <a:off x="5115020" y="5692962"/>
            <a:ext cx="2736304" cy="4320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EXTERNAL COHERENCE</a:t>
            </a:r>
          </a:p>
        </p:txBody>
      </p:sp>
      <p:sp>
        <p:nvSpPr>
          <p:cNvPr id="13" name="Rettangolo 12"/>
          <p:cNvSpPr/>
          <p:nvPr/>
        </p:nvSpPr>
        <p:spPr>
          <a:xfrm>
            <a:off x="4541174" y="1985625"/>
            <a:ext cx="3754036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10 YEARS FOR OTHERS FUNDS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4545120" y="1488579"/>
            <a:ext cx="3754036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30/50 YEARS FOR PENSION FUNDS</a:t>
            </a:r>
          </a:p>
        </p:txBody>
      </p:sp>
      <p:sp>
        <p:nvSpPr>
          <p:cNvPr id="15" name="Rettangolo 14"/>
          <p:cNvSpPr/>
          <p:nvPr/>
        </p:nvSpPr>
        <p:spPr>
          <a:xfrm>
            <a:off x="1671752" y="4596789"/>
            <a:ext cx="2736304" cy="93288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</a:rPr>
              <a:t>RESPECTING   ACCOUNTING PRINCIPLES</a:t>
            </a:r>
          </a:p>
        </p:txBody>
      </p:sp>
      <p:sp>
        <p:nvSpPr>
          <p:cNvPr id="5" name="Freccia a destra 4"/>
          <p:cNvSpPr/>
          <p:nvPr/>
        </p:nvSpPr>
        <p:spPr>
          <a:xfrm rot="19955481">
            <a:off x="4562101" y="4406233"/>
            <a:ext cx="360040" cy="381112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71623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61350">
            <a:off x="4523069" y="4995420"/>
            <a:ext cx="401638" cy="401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3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567311">
            <a:off x="4487829" y="5591062"/>
            <a:ext cx="401638" cy="401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Rettangolo 21"/>
          <p:cNvSpPr/>
          <p:nvPr/>
        </p:nvSpPr>
        <p:spPr>
          <a:xfrm>
            <a:off x="1668554" y="2996951"/>
            <a:ext cx="2736304" cy="93288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</a:rPr>
              <a:t>FREQUENCY OF THE FORECASTS 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4623910" y="3247371"/>
            <a:ext cx="3569450" cy="4320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EVERY 3 YEARS</a:t>
            </a:r>
          </a:p>
        </p:txBody>
      </p:sp>
    </p:spTree>
    <p:extLst>
      <p:ext uri="{BB962C8B-B14F-4D97-AF65-F5344CB8AC3E}">
        <p14:creationId xmlns:p14="http://schemas.microsoft.com/office/powerpoint/2010/main" val="2659885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3010</TotalTime>
  <Words>711</Words>
  <Application>Microsoft Office PowerPoint</Application>
  <PresentationFormat>A4 Paper (210x297 mm)</PresentationFormat>
  <Paragraphs>136</Paragraphs>
  <Slides>12</Slides>
  <Notes>8</Notes>
  <HiddenSlides>0</HiddenSlides>
  <MMClips>0</MMClips>
  <ScaleCrop>false</ScaleCrop>
  <HeadingPairs>
    <vt:vector size="10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  <vt:variant>
        <vt:lpstr>Custom Shows</vt:lpstr>
      </vt:variant>
      <vt:variant>
        <vt:i4>1</vt:i4>
      </vt:variant>
    </vt:vector>
  </HeadingPairs>
  <TitlesOfParts>
    <vt:vector size="23" baseType="lpstr">
      <vt:lpstr>Arial Unicode MS</vt:lpstr>
      <vt:lpstr>Optane</vt:lpstr>
      <vt:lpstr>宋体</vt:lpstr>
      <vt:lpstr>Arial</vt:lpstr>
      <vt:lpstr>Calibri</vt:lpstr>
      <vt:lpstr>Cambria Math</vt:lpstr>
      <vt:lpstr>Verdana</vt:lpstr>
      <vt:lpstr>Wingdings</vt:lpstr>
      <vt:lpstr>SPRP_Correct Power Point Template v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LONG TERM ACTUARIAL FORECASTS - Guidelines for regulatory changes</vt:lpstr>
      <vt:lpstr>PowerPoint Presentation</vt:lpstr>
      <vt:lpstr>LONG TERM ACTUARIAL FORECASTS - The actuarial model</vt:lpstr>
      <vt:lpstr>LONG TERM ACTUARIAL FORECASTS - Choice of methodology </vt:lpstr>
      <vt:lpstr>PowerPoint Presentation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马岚</cp:lastModifiedBy>
  <cp:revision>143</cp:revision>
  <cp:lastPrinted>2016-10-19T16:05:37Z</cp:lastPrinted>
  <dcterms:created xsi:type="dcterms:W3CDTF">2015-09-07T02:11:56Z</dcterms:created>
  <dcterms:modified xsi:type="dcterms:W3CDTF">2017-01-10T03:05:49Z</dcterms:modified>
</cp:coreProperties>
</file>